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2" d="100"/>
          <a:sy n="112" d="100"/>
        </p:scale>
        <p:origin x="758" y="91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72AE94D0-BF9C-4957-8F8E-0272E09B6087}"/>
    <pc:docChg chg="modSld">
      <pc:chgData name="Weigel Stefan (PAR-EPS)" userId="fd3b2067-2981-4ad8-bf3a-d2e1004e4fa8" providerId="ADAL" clId="{72AE94D0-BF9C-4957-8F8E-0272E09B6087}" dt="2024-04-11T13:49:00.458" v="14" actId="692"/>
      <pc:docMkLst>
        <pc:docMk/>
      </pc:docMkLst>
      <pc:sldChg chg="modSp mod setBg">
        <pc:chgData name="Weigel Stefan (PAR-EPS)" userId="fd3b2067-2981-4ad8-bf3a-d2e1004e4fa8" providerId="ADAL" clId="{72AE94D0-BF9C-4957-8F8E-0272E09B6087}" dt="2024-04-11T13:49:00.458" v="14" actId="692"/>
        <pc:sldMkLst>
          <pc:docMk/>
          <pc:sldMk cId="1708932620" sldId="407"/>
        </pc:sldMkLst>
        <pc:spChg chg="mod">
          <ac:chgData name="Weigel Stefan (PAR-EPS)" userId="fd3b2067-2981-4ad8-bf3a-d2e1004e4fa8" providerId="ADAL" clId="{72AE94D0-BF9C-4957-8F8E-0272E09B6087}" dt="2024-04-11T13:48:31.833" v="11" actId="255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PS)" userId="fd3b2067-2981-4ad8-bf3a-d2e1004e4fa8" providerId="ADAL" clId="{72AE94D0-BF9C-4957-8F8E-0272E09B6087}" dt="2024-04-11T13:48:23.077" v="9" actId="255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PS)" userId="fd3b2067-2981-4ad8-bf3a-d2e1004e4fa8" providerId="ADAL" clId="{72AE94D0-BF9C-4957-8F8E-0272E09B6087}" dt="2024-04-11T13:49:00.458" v="14" actId="692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4:24:39.205" v="36" actId="27918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4:24:39.205" v="36" actId="27918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Weigel Stefan (PAR-EPS)" userId="fd3b2067-2981-4ad8-bf3a-d2e1004e4fa8" providerId="ADAL" clId="{5BF6A544-8378-45C2-A800-F490B99CAD93}"/>
    <pc:docChg chg="modSld">
      <pc:chgData name="Weigel Stefan (PAR-EPS)" userId="fd3b2067-2981-4ad8-bf3a-d2e1004e4fa8" providerId="ADAL" clId="{5BF6A544-8378-45C2-A800-F490B99CAD93}" dt="2025-01-06T11:42:26.001" v="23" actId="20577"/>
      <pc:docMkLst>
        <pc:docMk/>
      </pc:docMkLst>
      <pc:sldChg chg="modSp mod">
        <pc:chgData name="Weigel Stefan (PAR-EPS)" userId="fd3b2067-2981-4ad8-bf3a-d2e1004e4fa8" providerId="ADAL" clId="{5BF6A544-8378-45C2-A800-F490B99CAD93}" dt="2025-01-06T11:42:26.001" v="2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5BF6A544-8378-45C2-A800-F490B99CAD93}" dt="2025-01-06T11:42:26.001" v="23" actId="20577"/>
          <ac:spMkLst>
            <pc:docMk/>
            <pc:sldMk cId="1708932620" sldId="407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18993080410403"/>
          <c:y val="3.9318010048961703E-2"/>
          <c:w val="0.86105800308019353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Streckennetzdichte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wegen</c:v>
                </c:pt>
                <c:pt idx="1">
                  <c:v>Finnland</c:v>
                </c:pt>
                <c:pt idx="2">
                  <c:v>Schweden</c:v>
                </c:pt>
                <c:pt idx="3">
                  <c:v>Spanien</c:v>
                </c:pt>
                <c:pt idx="4">
                  <c:v>Rumänien</c:v>
                </c:pt>
                <c:pt idx="5">
                  <c:v>Frankreich</c:v>
                </c:pt>
                <c:pt idx="6">
                  <c:v>Italien</c:v>
                </c:pt>
                <c:pt idx="7">
                  <c:v>Dänemark</c:v>
                </c:pt>
                <c:pt idx="8">
                  <c:v>Polen</c:v>
                </c:pt>
                <c:pt idx="9">
                  <c:v>Österreich</c:v>
                </c:pt>
                <c:pt idx="10">
                  <c:v>Grossbritannien</c:v>
                </c:pt>
                <c:pt idx="11">
                  <c:v>Niederlande</c:v>
                </c:pt>
                <c:pt idx="12">
                  <c:v>Deutschland</c:v>
                </c:pt>
                <c:pt idx="13">
                  <c:v>Tschechien</c:v>
                </c:pt>
                <c:pt idx="14">
                  <c:v>Schweiz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512148686818</c:v>
                </c:pt>
                <c:pt idx="1">
                  <c:v>17.478746258248101</c:v>
                </c:pt>
                <c:pt idx="2">
                  <c:v>24.375089400657998</c:v>
                </c:pt>
                <c:pt idx="3">
                  <c:v>31.8459908732112</c:v>
                </c:pt>
                <c:pt idx="4">
                  <c:v>44.5096015906174</c:v>
                </c:pt>
                <c:pt idx="5">
                  <c:v>50.738332178420499</c:v>
                </c:pt>
                <c:pt idx="6">
                  <c:v>55.720523439232799</c:v>
                </c:pt>
                <c:pt idx="7">
                  <c:v>57.029702970297002</c:v>
                </c:pt>
                <c:pt idx="8">
                  <c:v>62.639455258905897</c:v>
                </c:pt>
                <c:pt idx="9">
                  <c:v>66.489425117432503</c:v>
                </c:pt>
                <c:pt idx="10">
                  <c:v>69.225317445973502</c:v>
                </c:pt>
                <c:pt idx="11">
                  <c:v>81.358018085504796</c:v>
                </c:pt>
                <c:pt idx="12">
                  <c:v>108.205688971919</c:v>
                </c:pt>
                <c:pt idx="13">
                  <c:v>120.627353526645</c:v>
                </c:pt>
                <c:pt idx="14">
                  <c:v>128.802832279784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6.01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dichte in Europa </a:t>
            </a:r>
            <a:r>
              <a:rPr lang="de-CH"/>
              <a:t>im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39917788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eter Eisenbahnstrecke pro Quadratkilometer Landesfläch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: 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3BF43C1-A916-4E20-AD28-14B7F38569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treckennetzdichte in Europa im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dichte in Europa im 2023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1-06T11:5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